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6"/>
  </p:sldMasterIdLst>
  <p:notesMasterIdLst>
    <p:notesMasterId r:id="rId9"/>
  </p:notesMasterIdLst>
  <p:handoutMasterIdLst>
    <p:handoutMasterId r:id="rId10"/>
  </p:handoutMasterIdLst>
  <p:sldIdLst>
    <p:sldId id="256" r:id="rId7"/>
    <p:sldId id="281" r:id="rId8"/>
  </p:sldIdLst>
  <p:sldSz cx="9144000" cy="6858000" type="screen4x3"/>
  <p:notesSz cx="6797675" cy="9926638"/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75" userDrawn="1">
          <p15:clr>
            <a:srgbClr val="A4A3A4"/>
          </p15:clr>
        </p15:guide>
        <p15:guide id="2" pos="290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AA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ys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8FB837D-C827-4EFA-A057-4D05807E0F7C}" styleName="Temastil 1 - utheving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A111915-BE36-4E01-A7E5-04B1672EAD32}" styleName="Lys stil 2 - utheving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35" autoAdjust="0"/>
    <p:restoredTop sz="95565" autoAdjust="0"/>
  </p:normalViewPr>
  <p:slideViewPr>
    <p:cSldViewPr snapToGrid="0" snapToObjects="1">
      <p:cViewPr varScale="1">
        <p:scale>
          <a:sx n="83" d="100"/>
          <a:sy n="83" d="100"/>
        </p:scale>
        <p:origin x="1402" y="72"/>
      </p:cViewPr>
      <p:guideLst>
        <p:guide orient="horz" pos="1275"/>
        <p:guide pos="290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presProps" Target="presProps.xml"/><Relationship Id="rId5" Type="http://schemas.openxmlformats.org/officeDocument/2006/relationships/customXml" Target="../customXml/item5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4D00B1-04F2-944E-9216-97B22EBBABC6}" type="datetime1">
              <a:rPr lang="nb-NO" smtClean="0"/>
              <a:t>27.01.2016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D678FF-7439-CE4C-B89E-CA3302AC3B1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7816383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9B5CA4-F9C3-4743-B583-7E7F4721B023}" type="datetime1">
              <a:rPr lang="nb-NO" smtClean="0"/>
              <a:t>27.01.2016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EBF819-CD94-7D44-8854-77558DA8EB3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958999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1163791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8960" y="1916046"/>
            <a:ext cx="7271337" cy="1632738"/>
          </a:xfrm>
        </p:spPr>
        <p:txBody>
          <a:bodyPr anchor="b"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b-NO" dirty="0" smtClean="0"/>
              <a:t>Tittel på presentasjonen</a:t>
            </a:r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0"/>
          </p:nvPr>
        </p:nvSpPr>
        <p:spPr>
          <a:xfrm>
            <a:off x="548960" y="3840661"/>
            <a:ext cx="7140575" cy="76676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Rektangel 5"/>
          <p:cNvSpPr/>
          <p:nvPr/>
        </p:nvSpPr>
        <p:spPr>
          <a:xfrm>
            <a:off x="0" y="0"/>
            <a:ext cx="1959429" cy="18113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pic>
        <p:nvPicPr>
          <p:cNvPr id="14" name="Bild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5879" y="1811383"/>
            <a:ext cx="3225064" cy="271905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49239083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199" y="1600200"/>
            <a:ext cx="8230783" cy="435769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049846" y="6276899"/>
            <a:ext cx="755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FFFFFF"/>
                </a:solidFill>
              </a:defRPr>
            </a:lvl1pPr>
          </a:lstStyle>
          <a:p>
            <a:fld id="{62E7BCCD-144D-2C4B-89B7-8228F37C6C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9664694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/>
        </p:nvSpPr>
        <p:spPr>
          <a:xfrm>
            <a:off x="0" y="5379861"/>
            <a:ext cx="9144000" cy="14875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Rektangel 3"/>
          <p:cNvSpPr/>
          <p:nvPr/>
        </p:nvSpPr>
        <p:spPr>
          <a:xfrm>
            <a:off x="0" y="5385152"/>
            <a:ext cx="6242438" cy="1496884"/>
          </a:xfrm>
          <a:custGeom>
            <a:avLst/>
            <a:gdLst>
              <a:gd name="connsiteX0" fmla="*/ 0 w 6255950"/>
              <a:gd name="connsiteY0" fmla="*/ 0 h 811652"/>
              <a:gd name="connsiteX1" fmla="*/ 6255950 w 6255950"/>
              <a:gd name="connsiteY1" fmla="*/ 0 h 811652"/>
              <a:gd name="connsiteX2" fmla="*/ 6255950 w 6255950"/>
              <a:gd name="connsiteY2" fmla="*/ 811652 h 811652"/>
              <a:gd name="connsiteX3" fmla="*/ 0 w 6255950"/>
              <a:gd name="connsiteY3" fmla="*/ 811652 h 811652"/>
              <a:gd name="connsiteX4" fmla="*/ 0 w 6255950"/>
              <a:gd name="connsiteY4" fmla="*/ 0 h 811652"/>
              <a:gd name="connsiteX0" fmla="*/ 0 w 6255950"/>
              <a:gd name="connsiteY0" fmla="*/ 0 h 811652"/>
              <a:gd name="connsiteX1" fmla="*/ 6255950 w 6255950"/>
              <a:gd name="connsiteY1" fmla="*/ 0 h 811652"/>
              <a:gd name="connsiteX2" fmla="*/ 5957389 w 6255950"/>
              <a:gd name="connsiteY2" fmla="*/ 811652 h 811652"/>
              <a:gd name="connsiteX3" fmla="*/ 0 w 6255950"/>
              <a:gd name="connsiteY3" fmla="*/ 811652 h 811652"/>
              <a:gd name="connsiteX4" fmla="*/ 0 w 6255950"/>
              <a:gd name="connsiteY4" fmla="*/ 0 h 811652"/>
              <a:gd name="connsiteX0" fmla="*/ 0 w 6255950"/>
              <a:gd name="connsiteY0" fmla="*/ 0 h 811652"/>
              <a:gd name="connsiteX1" fmla="*/ 6255950 w 6255950"/>
              <a:gd name="connsiteY1" fmla="*/ 0 h 811652"/>
              <a:gd name="connsiteX2" fmla="*/ 5693908 w 6255950"/>
              <a:gd name="connsiteY2" fmla="*/ 806820 h 811652"/>
              <a:gd name="connsiteX3" fmla="*/ 0 w 6255950"/>
              <a:gd name="connsiteY3" fmla="*/ 811652 h 811652"/>
              <a:gd name="connsiteX4" fmla="*/ 0 w 6255950"/>
              <a:gd name="connsiteY4" fmla="*/ 0 h 811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55950" h="811652">
                <a:moveTo>
                  <a:pt x="0" y="0"/>
                </a:moveTo>
                <a:lnTo>
                  <a:pt x="6255950" y="0"/>
                </a:lnTo>
                <a:lnTo>
                  <a:pt x="5693908" y="806820"/>
                </a:lnTo>
                <a:lnTo>
                  <a:pt x="0" y="81165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15" name="Rektangel 3"/>
          <p:cNvSpPr/>
          <p:nvPr/>
        </p:nvSpPr>
        <p:spPr>
          <a:xfrm rot="10800000">
            <a:off x="6068376" y="5379860"/>
            <a:ext cx="3079235" cy="1496884"/>
          </a:xfrm>
          <a:custGeom>
            <a:avLst/>
            <a:gdLst>
              <a:gd name="connsiteX0" fmla="*/ 0 w 6255950"/>
              <a:gd name="connsiteY0" fmla="*/ 0 h 811652"/>
              <a:gd name="connsiteX1" fmla="*/ 6255950 w 6255950"/>
              <a:gd name="connsiteY1" fmla="*/ 0 h 811652"/>
              <a:gd name="connsiteX2" fmla="*/ 6255950 w 6255950"/>
              <a:gd name="connsiteY2" fmla="*/ 811652 h 811652"/>
              <a:gd name="connsiteX3" fmla="*/ 0 w 6255950"/>
              <a:gd name="connsiteY3" fmla="*/ 811652 h 811652"/>
              <a:gd name="connsiteX4" fmla="*/ 0 w 6255950"/>
              <a:gd name="connsiteY4" fmla="*/ 0 h 811652"/>
              <a:gd name="connsiteX0" fmla="*/ 0 w 6255950"/>
              <a:gd name="connsiteY0" fmla="*/ 0 h 811652"/>
              <a:gd name="connsiteX1" fmla="*/ 6255950 w 6255950"/>
              <a:gd name="connsiteY1" fmla="*/ 0 h 811652"/>
              <a:gd name="connsiteX2" fmla="*/ 5957389 w 6255950"/>
              <a:gd name="connsiteY2" fmla="*/ 811652 h 811652"/>
              <a:gd name="connsiteX3" fmla="*/ 0 w 6255950"/>
              <a:gd name="connsiteY3" fmla="*/ 811652 h 811652"/>
              <a:gd name="connsiteX4" fmla="*/ 0 w 6255950"/>
              <a:gd name="connsiteY4" fmla="*/ 0 h 811652"/>
              <a:gd name="connsiteX0" fmla="*/ 0 w 6255950"/>
              <a:gd name="connsiteY0" fmla="*/ 0 h 811652"/>
              <a:gd name="connsiteX1" fmla="*/ 6255950 w 6255950"/>
              <a:gd name="connsiteY1" fmla="*/ 0 h 811652"/>
              <a:gd name="connsiteX2" fmla="*/ 5693908 w 6255950"/>
              <a:gd name="connsiteY2" fmla="*/ 806820 h 811652"/>
              <a:gd name="connsiteX3" fmla="*/ 0 w 6255950"/>
              <a:gd name="connsiteY3" fmla="*/ 811652 h 811652"/>
              <a:gd name="connsiteX4" fmla="*/ 0 w 6255950"/>
              <a:gd name="connsiteY4" fmla="*/ 0 h 811652"/>
              <a:gd name="connsiteX0" fmla="*/ 0 w 6255950"/>
              <a:gd name="connsiteY0" fmla="*/ 0 h 809111"/>
              <a:gd name="connsiteX1" fmla="*/ 6255950 w 6255950"/>
              <a:gd name="connsiteY1" fmla="*/ 0 h 809111"/>
              <a:gd name="connsiteX2" fmla="*/ 5693908 w 6255950"/>
              <a:gd name="connsiteY2" fmla="*/ 806820 h 809111"/>
              <a:gd name="connsiteX3" fmla="*/ 3170050 w 6255950"/>
              <a:gd name="connsiteY3" fmla="*/ 809111 h 809111"/>
              <a:gd name="connsiteX4" fmla="*/ 0 w 6255950"/>
              <a:gd name="connsiteY4" fmla="*/ 0 h 809111"/>
              <a:gd name="connsiteX0" fmla="*/ 0 w 3085900"/>
              <a:gd name="connsiteY0" fmla="*/ 0 h 811652"/>
              <a:gd name="connsiteX1" fmla="*/ 3085900 w 3085900"/>
              <a:gd name="connsiteY1" fmla="*/ 2541 h 811652"/>
              <a:gd name="connsiteX2" fmla="*/ 2523858 w 3085900"/>
              <a:gd name="connsiteY2" fmla="*/ 809361 h 811652"/>
              <a:gd name="connsiteX3" fmla="*/ 0 w 3085900"/>
              <a:gd name="connsiteY3" fmla="*/ 811652 h 811652"/>
              <a:gd name="connsiteX4" fmla="*/ 0 w 3085900"/>
              <a:gd name="connsiteY4" fmla="*/ 0 h 811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85900" h="811652">
                <a:moveTo>
                  <a:pt x="0" y="0"/>
                </a:moveTo>
                <a:lnTo>
                  <a:pt x="3085900" y="2541"/>
                </a:lnTo>
                <a:lnTo>
                  <a:pt x="2523858" y="809361"/>
                </a:lnTo>
                <a:lnTo>
                  <a:pt x="0" y="81165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8960" y="1820486"/>
            <a:ext cx="4588305" cy="2294313"/>
          </a:xfrm>
        </p:spPr>
        <p:txBody>
          <a:bodyPr anchor="b"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b-NO" dirty="0" smtClean="0"/>
              <a:t>Tittel på presentasjonen</a:t>
            </a:r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" y="6422301"/>
            <a:ext cx="84549" cy="104060"/>
          </a:xfrm>
          <a:prstGeom prst="rect">
            <a:avLst/>
          </a:prstGeom>
        </p:spPr>
      </p:pic>
      <p:sp>
        <p:nvSpPr>
          <p:cNvPr id="12" name="TekstSylinder 11"/>
          <p:cNvSpPr txBox="1"/>
          <p:nvPr/>
        </p:nvSpPr>
        <p:spPr>
          <a:xfrm>
            <a:off x="583564" y="6306411"/>
            <a:ext cx="19073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 i="0" dirty="0" smtClean="0">
                <a:solidFill>
                  <a:schemeClr val="bg1"/>
                </a:solidFill>
                <a:latin typeface="Arial"/>
                <a:cs typeface="Arial"/>
              </a:rPr>
              <a:t>www.eba.no</a:t>
            </a:r>
            <a:endParaRPr lang="nb-NO" sz="1100" b="1" i="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28238" y="6239388"/>
            <a:ext cx="1700173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A49CCF51-B83D-7E49-9A61-D8655E5280D1}" type="datetime1">
              <a:rPr lang="nb-NO" smtClean="0"/>
              <a:pPr/>
              <a:t>27.01.2016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8358126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912883"/>
            <a:ext cx="4038600" cy="406588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912883"/>
            <a:ext cx="4038600" cy="406588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049846" y="6276899"/>
            <a:ext cx="755094" cy="365125"/>
          </a:xfrm>
          <a:prstGeom prst="rect">
            <a:avLst/>
          </a:prstGeom>
        </p:spPr>
        <p:txBody>
          <a:bodyPr/>
          <a:lstStyle/>
          <a:p>
            <a:fld id="{62E7BCCD-144D-2C4B-89B7-8228F37C6C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3"/>
          </p:nvPr>
        </p:nvSpPr>
        <p:spPr>
          <a:xfrm>
            <a:off x="457200" y="1450427"/>
            <a:ext cx="4038600" cy="294783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 b="1"/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8" name="Plassholder for tekst 5"/>
          <p:cNvSpPr>
            <a:spLocks noGrp="1"/>
          </p:cNvSpPr>
          <p:nvPr>
            <p:ph type="body" sz="quarter" idx="14"/>
          </p:nvPr>
        </p:nvSpPr>
        <p:spPr>
          <a:xfrm>
            <a:off x="4648200" y="1450427"/>
            <a:ext cx="4038600" cy="294783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 b="1"/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25754055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5379861"/>
            <a:ext cx="9144000" cy="14875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Rektangel 3"/>
          <p:cNvSpPr/>
          <p:nvPr userDrawn="1"/>
        </p:nvSpPr>
        <p:spPr>
          <a:xfrm>
            <a:off x="0" y="5385152"/>
            <a:ext cx="6242438" cy="1496884"/>
          </a:xfrm>
          <a:custGeom>
            <a:avLst/>
            <a:gdLst>
              <a:gd name="connsiteX0" fmla="*/ 0 w 6255950"/>
              <a:gd name="connsiteY0" fmla="*/ 0 h 811652"/>
              <a:gd name="connsiteX1" fmla="*/ 6255950 w 6255950"/>
              <a:gd name="connsiteY1" fmla="*/ 0 h 811652"/>
              <a:gd name="connsiteX2" fmla="*/ 6255950 w 6255950"/>
              <a:gd name="connsiteY2" fmla="*/ 811652 h 811652"/>
              <a:gd name="connsiteX3" fmla="*/ 0 w 6255950"/>
              <a:gd name="connsiteY3" fmla="*/ 811652 h 811652"/>
              <a:gd name="connsiteX4" fmla="*/ 0 w 6255950"/>
              <a:gd name="connsiteY4" fmla="*/ 0 h 811652"/>
              <a:gd name="connsiteX0" fmla="*/ 0 w 6255950"/>
              <a:gd name="connsiteY0" fmla="*/ 0 h 811652"/>
              <a:gd name="connsiteX1" fmla="*/ 6255950 w 6255950"/>
              <a:gd name="connsiteY1" fmla="*/ 0 h 811652"/>
              <a:gd name="connsiteX2" fmla="*/ 5957389 w 6255950"/>
              <a:gd name="connsiteY2" fmla="*/ 811652 h 811652"/>
              <a:gd name="connsiteX3" fmla="*/ 0 w 6255950"/>
              <a:gd name="connsiteY3" fmla="*/ 811652 h 811652"/>
              <a:gd name="connsiteX4" fmla="*/ 0 w 6255950"/>
              <a:gd name="connsiteY4" fmla="*/ 0 h 811652"/>
              <a:gd name="connsiteX0" fmla="*/ 0 w 6255950"/>
              <a:gd name="connsiteY0" fmla="*/ 0 h 811652"/>
              <a:gd name="connsiteX1" fmla="*/ 6255950 w 6255950"/>
              <a:gd name="connsiteY1" fmla="*/ 0 h 811652"/>
              <a:gd name="connsiteX2" fmla="*/ 5693908 w 6255950"/>
              <a:gd name="connsiteY2" fmla="*/ 806820 h 811652"/>
              <a:gd name="connsiteX3" fmla="*/ 0 w 6255950"/>
              <a:gd name="connsiteY3" fmla="*/ 811652 h 811652"/>
              <a:gd name="connsiteX4" fmla="*/ 0 w 6255950"/>
              <a:gd name="connsiteY4" fmla="*/ 0 h 811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55950" h="811652">
                <a:moveTo>
                  <a:pt x="0" y="0"/>
                </a:moveTo>
                <a:lnTo>
                  <a:pt x="6255950" y="0"/>
                </a:lnTo>
                <a:lnTo>
                  <a:pt x="5693908" y="806820"/>
                </a:lnTo>
                <a:lnTo>
                  <a:pt x="0" y="81165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15" name="Rektangel 3"/>
          <p:cNvSpPr/>
          <p:nvPr userDrawn="1"/>
        </p:nvSpPr>
        <p:spPr>
          <a:xfrm rot="10800000">
            <a:off x="6068376" y="5379860"/>
            <a:ext cx="3079235" cy="1496884"/>
          </a:xfrm>
          <a:custGeom>
            <a:avLst/>
            <a:gdLst>
              <a:gd name="connsiteX0" fmla="*/ 0 w 6255950"/>
              <a:gd name="connsiteY0" fmla="*/ 0 h 811652"/>
              <a:gd name="connsiteX1" fmla="*/ 6255950 w 6255950"/>
              <a:gd name="connsiteY1" fmla="*/ 0 h 811652"/>
              <a:gd name="connsiteX2" fmla="*/ 6255950 w 6255950"/>
              <a:gd name="connsiteY2" fmla="*/ 811652 h 811652"/>
              <a:gd name="connsiteX3" fmla="*/ 0 w 6255950"/>
              <a:gd name="connsiteY3" fmla="*/ 811652 h 811652"/>
              <a:gd name="connsiteX4" fmla="*/ 0 w 6255950"/>
              <a:gd name="connsiteY4" fmla="*/ 0 h 811652"/>
              <a:gd name="connsiteX0" fmla="*/ 0 w 6255950"/>
              <a:gd name="connsiteY0" fmla="*/ 0 h 811652"/>
              <a:gd name="connsiteX1" fmla="*/ 6255950 w 6255950"/>
              <a:gd name="connsiteY1" fmla="*/ 0 h 811652"/>
              <a:gd name="connsiteX2" fmla="*/ 5957389 w 6255950"/>
              <a:gd name="connsiteY2" fmla="*/ 811652 h 811652"/>
              <a:gd name="connsiteX3" fmla="*/ 0 w 6255950"/>
              <a:gd name="connsiteY3" fmla="*/ 811652 h 811652"/>
              <a:gd name="connsiteX4" fmla="*/ 0 w 6255950"/>
              <a:gd name="connsiteY4" fmla="*/ 0 h 811652"/>
              <a:gd name="connsiteX0" fmla="*/ 0 w 6255950"/>
              <a:gd name="connsiteY0" fmla="*/ 0 h 811652"/>
              <a:gd name="connsiteX1" fmla="*/ 6255950 w 6255950"/>
              <a:gd name="connsiteY1" fmla="*/ 0 h 811652"/>
              <a:gd name="connsiteX2" fmla="*/ 5693908 w 6255950"/>
              <a:gd name="connsiteY2" fmla="*/ 806820 h 811652"/>
              <a:gd name="connsiteX3" fmla="*/ 0 w 6255950"/>
              <a:gd name="connsiteY3" fmla="*/ 811652 h 811652"/>
              <a:gd name="connsiteX4" fmla="*/ 0 w 6255950"/>
              <a:gd name="connsiteY4" fmla="*/ 0 h 811652"/>
              <a:gd name="connsiteX0" fmla="*/ 0 w 6255950"/>
              <a:gd name="connsiteY0" fmla="*/ 0 h 809111"/>
              <a:gd name="connsiteX1" fmla="*/ 6255950 w 6255950"/>
              <a:gd name="connsiteY1" fmla="*/ 0 h 809111"/>
              <a:gd name="connsiteX2" fmla="*/ 5693908 w 6255950"/>
              <a:gd name="connsiteY2" fmla="*/ 806820 h 809111"/>
              <a:gd name="connsiteX3" fmla="*/ 3170050 w 6255950"/>
              <a:gd name="connsiteY3" fmla="*/ 809111 h 809111"/>
              <a:gd name="connsiteX4" fmla="*/ 0 w 6255950"/>
              <a:gd name="connsiteY4" fmla="*/ 0 h 809111"/>
              <a:gd name="connsiteX0" fmla="*/ 0 w 3085900"/>
              <a:gd name="connsiteY0" fmla="*/ 0 h 811652"/>
              <a:gd name="connsiteX1" fmla="*/ 3085900 w 3085900"/>
              <a:gd name="connsiteY1" fmla="*/ 2541 h 811652"/>
              <a:gd name="connsiteX2" fmla="*/ 2523858 w 3085900"/>
              <a:gd name="connsiteY2" fmla="*/ 809361 h 811652"/>
              <a:gd name="connsiteX3" fmla="*/ 0 w 3085900"/>
              <a:gd name="connsiteY3" fmla="*/ 811652 h 811652"/>
              <a:gd name="connsiteX4" fmla="*/ 0 w 3085900"/>
              <a:gd name="connsiteY4" fmla="*/ 0 h 811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85900" h="811652">
                <a:moveTo>
                  <a:pt x="0" y="0"/>
                </a:moveTo>
                <a:lnTo>
                  <a:pt x="3085900" y="2541"/>
                </a:lnTo>
                <a:lnTo>
                  <a:pt x="2523858" y="809361"/>
                </a:lnTo>
                <a:lnTo>
                  <a:pt x="0" y="81165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341142" y="1338349"/>
            <a:ext cx="4156044" cy="2701635"/>
          </a:xfrm>
        </p:spPr>
        <p:txBody>
          <a:bodyPr anchor="b"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b-NO" dirty="0" smtClean="0"/>
              <a:t>Tittel på presentasjonen</a:t>
            </a:r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" y="6422301"/>
            <a:ext cx="84549" cy="104060"/>
          </a:xfrm>
          <a:prstGeom prst="rect">
            <a:avLst/>
          </a:prstGeom>
        </p:spPr>
      </p:pic>
      <p:sp>
        <p:nvSpPr>
          <p:cNvPr id="12" name="TekstSylinder 11"/>
          <p:cNvSpPr txBox="1"/>
          <p:nvPr userDrawn="1"/>
        </p:nvSpPr>
        <p:spPr>
          <a:xfrm>
            <a:off x="583564" y="6306411"/>
            <a:ext cx="19073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 i="0" dirty="0" smtClean="0">
                <a:solidFill>
                  <a:schemeClr val="bg1"/>
                </a:solidFill>
                <a:latin typeface="Arial"/>
                <a:cs typeface="Arial"/>
              </a:rPr>
              <a:t>www.eba.no</a:t>
            </a:r>
            <a:endParaRPr lang="nb-NO" sz="1100" b="1" i="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28238" y="6239388"/>
            <a:ext cx="1700173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A49CCF51-B83D-7E49-9A61-D8655E5280D1}" type="datetime1">
              <a:rPr lang="nb-NO" smtClean="0"/>
              <a:pPr/>
              <a:t>27.01.2016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82442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8049846" y="6276899"/>
            <a:ext cx="755094" cy="365125"/>
          </a:xfrm>
          <a:prstGeom prst="rect">
            <a:avLst/>
          </a:prstGeom>
        </p:spPr>
        <p:txBody>
          <a:bodyPr/>
          <a:lstStyle/>
          <a:p>
            <a:fld id="{62E7BCCD-144D-2C4B-89B7-8228F37C6C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730999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87927892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06769" y="430943"/>
            <a:ext cx="6253023" cy="63010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nb-NO" noProof="0" dirty="0" smtClean="0"/>
              <a:t>Klikk for å redigere tittelstil</a:t>
            </a:r>
            <a:endParaRPr lang="nb-NO" noProof="0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959429"/>
            <a:ext cx="8229600" cy="39039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noProof="0" dirty="0" smtClean="0"/>
              <a:t>Klikk for å redigere tekststiler i malen</a:t>
            </a:r>
          </a:p>
          <a:p>
            <a:pPr lvl="1"/>
            <a:r>
              <a:rPr lang="nb-NO" noProof="0" dirty="0" smtClean="0"/>
              <a:t>Andre nivå</a:t>
            </a:r>
          </a:p>
          <a:p>
            <a:pPr lvl="2"/>
            <a:r>
              <a:rPr lang="nb-NO" noProof="0" dirty="0" smtClean="0"/>
              <a:t>Tredje nivå</a:t>
            </a:r>
          </a:p>
          <a:p>
            <a:pPr lvl="3"/>
            <a:r>
              <a:rPr lang="nb-NO" noProof="0" dirty="0" smtClean="0"/>
              <a:t>Fjerde nivå</a:t>
            </a:r>
          </a:p>
          <a:p>
            <a:pPr lvl="4"/>
            <a:r>
              <a:rPr lang="nb-NO" noProof="0" dirty="0" smtClean="0"/>
              <a:t>Femte nivå</a:t>
            </a:r>
            <a:endParaRPr lang="nb-NO" noProof="0" dirty="0"/>
          </a:p>
        </p:txBody>
      </p:sp>
      <p:pic>
        <p:nvPicPr>
          <p:cNvPr id="15" name="Bilde 14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008" y="272075"/>
            <a:ext cx="747598" cy="114551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8" name="Bilde 7"/>
          <p:cNvPicPr>
            <a:picLocks/>
          </p:cNvPicPr>
          <p:nvPr/>
        </p:nvPicPr>
        <p:blipFill rotWithShape="1">
          <a:blip r:embed="rId15"/>
          <a:srcRect r="6441"/>
          <a:stretch/>
        </p:blipFill>
        <p:spPr>
          <a:xfrm>
            <a:off x="8039" y="6685086"/>
            <a:ext cx="9145108" cy="180000"/>
          </a:xfrm>
          <a:prstGeom prst="rect">
            <a:avLst/>
          </a:prstGeom>
        </p:spPr>
      </p:pic>
      <p:sp>
        <p:nvSpPr>
          <p:cNvPr id="9" name="Rektangel 8"/>
          <p:cNvSpPr/>
          <p:nvPr/>
        </p:nvSpPr>
        <p:spPr>
          <a:xfrm>
            <a:off x="8040" y="6658429"/>
            <a:ext cx="9135961" cy="36000"/>
          </a:xfrm>
          <a:prstGeom prst="rect">
            <a:avLst/>
          </a:prstGeom>
          <a:solidFill>
            <a:srgbClr val="ED81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662"/>
          </a:p>
        </p:txBody>
      </p:sp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803147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86053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422041" rtl="0" eaLnBrk="1" latinLnBrk="0" hangingPunct="1">
        <a:spcBef>
          <a:spcPct val="0"/>
        </a:spcBef>
        <a:buNone/>
        <a:defRPr sz="3692" b="0" i="0" kern="1200">
          <a:solidFill>
            <a:srgbClr val="7F7F7F"/>
          </a:solidFill>
          <a:latin typeface="Arial"/>
          <a:ea typeface="+mj-ea"/>
          <a:cs typeface="Arial"/>
        </a:defRPr>
      </a:lvl1pPr>
    </p:titleStyle>
    <p:bodyStyle>
      <a:lvl1pPr marL="316531" indent="-316531" algn="l" defTabSz="422041" rtl="0" eaLnBrk="1" latinLnBrk="0" hangingPunct="1">
        <a:spcBef>
          <a:spcPct val="20000"/>
        </a:spcBef>
        <a:buClr>
          <a:schemeClr val="accent6"/>
        </a:buClr>
        <a:buFont typeface="Arial"/>
        <a:buChar char="•"/>
        <a:defRPr sz="2215" b="0" i="0" kern="1200">
          <a:solidFill>
            <a:schemeClr val="tx1"/>
          </a:solidFill>
          <a:latin typeface="Arial"/>
          <a:ea typeface="+mn-ea"/>
          <a:cs typeface="Arial"/>
        </a:defRPr>
      </a:lvl1pPr>
      <a:lvl2pPr marL="685817" indent="-263776" algn="l" defTabSz="422041" rtl="0" eaLnBrk="1" latinLnBrk="0" hangingPunct="1">
        <a:spcBef>
          <a:spcPct val="20000"/>
        </a:spcBef>
        <a:buClr>
          <a:schemeClr val="accent6"/>
        </a:buClr>
        <a:buFont typeface="Arial"/>
        <a:buChar char="–"/>
        <a:defRPr sz="1662" b="0" i="0" kern="1200">
          <a:solidFill>
            <a:schemeClr val="tx1"/>
          </a:solidFill>
          <a:latin typeface="Arial"/>
          <a:ea typeface="+mn-ea"/>
          <a:cs typeface="Arial"/>
        </a:defRPr>
      </a:lvl2pPr>
      <a:lvl3pPr marL="1055103" indent="-211021" algn="l" defTabSz="422041" rtl="0" eaLnBrk="1" latinLnBrk="0" hangingPunct="1">
        <a:spcBef>
          <a:spcPct val="20000"/>
        </a:spcBef>
        <a:buFont typeface="Arial"/>
        <a:buChar char="•"/>
        <a:defRPr sz="1477" b="0" i="0" kern="1200">
          <a:solidFill>
            <a:schemeClr val="tx1"/>
          </a:solidFill>
          <a:latin typeface="Arial"/>
          <a:ea typeface="+mn-ea"/>
          <a:cs typeface="Arial"/>
        </a:defRPr>
      </a:lvl3pPr>
      <a:lvl4pPr marL="1477145" indent="-211021" algn="l" defTabSz="422041" rtl="0" eaLnBrk="1" latinLnBrk="0" hangingPunct="1">
        <a:spcBef>
          <a:spcPct val="20000"/>
        </a:spcBef>
        <a:buFont typeface="Arial"/>
        <a:buChar char="–"/>
        <a:defRPr sz="1292" b="0" i="0" kern="1200">
          <a:solidFill>
            <a:schemeClr val="tx1"/>
          </a:solidFill>
          <a:latin typeface="Arial"/>
          <a:ea typeface="+mn-ea"/>
          <a:cs typeface="Arial"/>
        </a:defRPr>
      </a:lvl4pPr>
      <a:lvl5pPr marL="1688165" indent="0" algn="l" defTabSz="422041" rtl="0" eaLnBrk="1" latinLnBrk="0" hangingPunct="1">
        <a:spcBef>
          <a:spcPct val="20000"/>
        </a:spcBef>
        <a:buFont typeface="Arial"/>
        <a:buNone/>
        <a:defRPr sz="1108" b="0" i="0" kern="1200">
          <a:solidFill>
            <a:schemeClr val="tx1"/>
          </a:solidFill>
          <a:latin typeface="Arial"/>
          <a:ea typeface="+mn-ea"/>
          <a:cs typeface="Arial"/>
        </a:defRPr>
      </a:lvl5pPr>
      <a:lvl6pPr marL="2321227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Et felles løft fra alle parter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nb-NO" dirty="0" smtClean="0"/>
              <a:t>Innkalling til arbeidsmøte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04634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l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4738041"/>
              </p:ext>
            </p:extLst>
          </p:nvPr>
        </p:nvGraphicFramePr>
        <p:xfrm>
          <a:off x="457200" y="1677824"/>
          <a:ext cx="8095672" cy="2755632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098065"/>
                <a:gridCol w="2949771"/>
                <a:gridCol w="1306083"/>
                <a:gridCol w="2741753"/>
              </a:tblGrid>
              <a:tr h="457771">
                <a:tc gridSpan="4">
                  <a:txBody>
                    <a:bodyPr/>
                    <a:lstStyle/>
                    <a:p>
                      <a:pPr algn="ctr"/>
                      <a:r>
                        <a:rPr lang="nb-NO" sz="1600" dirty="0" smtClean="0"/>
                        <a:t>Møteinnkalling</a:t>
                      </a:r>
                      <a:endParaRPr lang="nb-NO" sz="1600" b="1" dirty="0"/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</a:tr>
              <a:tr h="932095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Bakgrunn:</a:t>
                      </a:r>
                      <a:endParaRPr lang="nb-NO" sz="140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r>
                        <a:rPr lang="nb-NO" sz="1400" dirty="0" smtClean="0"/>
                        <a:t>Vi har tatt en beslutning om at vi har nytte av å bli med på et felles arbeid i hele bygge- og anleggsnæringen for å bli bedre på HMS.</a:t>
                      </a:r>
                      <a:r>
                        <a:rPr lang="nb-NO" sz="1400" baseline="0" dirty="0" smtClean="0"/>
                        <a:t> </a:t>
                      </a:r>
                      <a:r>
                        <a:rPr lang="nb-NO" sz="1400" baseline="0" dirty="0" smtClean="0"/>
                        <a:t>For å finne gode tiltak og forstå hva dette betyr for oss, inviteres dere til et arbeidsmøte for å delta i dette.</a:t>
                      </a:r>
                      <a:endParaRPr lang="nb-NO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</a:tr>
              <a:tr h="541778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Til:</a:t>
                      </a:r>
                      <a:endParaRPr lang="nb-NO" sz="140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r>
                        <a:rPr lang="nb-NO" sz="1400" dirty="0" smtClean="0"/>
                        <a:t>(ledere, prosjektleder, anleggsleder, fagforening, HMS-personer,</a:t>
                      </a:r>
                      <a:r>
                        <a:rPr lang="nb-NO" sz="1400" baseline="0" dirty="0" smtClean="0"/>
                        <a:t> AMU, verneombud – fyll inn)</a:t>
                      </a:r>
                      <a:endParaRPr lang="nb-NO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nb-NO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nb-NO" sz="1400" dirty="0"/>
                    </a:p>
                  </a:txBody>
                  <a:tcPr anchor="ctr"/>
                </a:tc>
              </a:tr>
              <a:tr h="411994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Dato:</a:t>
                      </a:r>
                      <a:endParaRPr lang="nb-NO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nb-NO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Sted:</a:t>
                      </a:r>
                      <a:endParaRPr lang="nb-NO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nb-NO" sz="1400" dirty="0"/>
                    </a:p>
                  </a:txBody>
                  <a:tcPr anchor="ctr"/>
                </a:tc>
              </a:tr>
              <a:tr h="411994"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Kl:</a:t>
                      </a:r>
                      <a:endParaRPr lang="nb-NO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nb-NO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Varighet:</a:t>
                      </a:r>
                      <a:endParaRPr lang="nb-NO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4 timer</a:t>
                      </a:r>
                      <a:endParaRPr lang="nb-NO" sz="14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72165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BA_pptmal-v7">
  <a:themeElements>
    <a:clrScheme name="Egendefinert 5">
      <a:dk1>
        <a:sysClr val="windowText" lastClr="000000"/>
      </a:dk1>
      <a:lt1>
        <a:sysClr val="window" lastClr="FFFFFF"/>
      </a:lt1>
      <a:dk2>
        <a:srgbClr val="00395B"/>
      </a:dk2>
      <a:lt2>
        <a:srgbClr val="EEECE1"/>
      </a:lt2>
      <a:accent1>
        <a:srgbClr val="3C3C3B"/>
      </a:accent1>
      <a:accent2>
        <a:srgbClr val="C0504D"/>
      </a:accent2>
      <a:accent3>
        <a:srgbClr val="ED8113"/>
      </a:accent3>
      <a:accent4>
        <a:srgbClr val="00395B"/>
      </a:accent4>
      <a:accent5>
        <a:srgbClr val="006A9F"/>
      </a:accent5>
      <a:accent6>
        <a:srgbClr val="ED8113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FFFFFF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HO_DocumentStatus xmlns="1fcd92dd-7d74-4918-8c11-98baf3d8368d">Under behandling</NHO_DocumentStatus>
    <c33924c3673147c88830f2707c1978bc xmlns="1fcd92dd-7d74-4918-8c11-98baf3d8368d">
      <Terms xmlns="http://schemas.microsoft.com/office/infopath/2007/PartnerControls"/>
    </c33924c3673147c88830f2707c1978bc>
    <TaxKeywordTaxHTField xmlns="1fcd92dd-7d74-4918-8c11-98baf3d8368d">
      <Terms xmlns="http://schemas.microsoft.com/office/infopath/2007/PartnerControls"/>
    </TaxKeywordTaxHTField>
    <ARENA_DocumentReference xmlns="1fcd92dd-7d74-4918-8c11-98baf3d8368d" xsi:nil="true"/>
    <ARENA_DocumentRecipient xmlns="1fcd92dd-7d74-4918-8c11-98baf3d8368d" xsi:nil="true"/>
    <NHO_DocumentDate xmlns="1fcd92dd-7d74-4918-8c11-98baf3d8368d">2015-05-06T10:57:25+00:00</NHO_DocumentDate>
    <NHO_DocumentArchiveDate xmlns="1fcd92dd-7d74-4918-8c11-98baf3d8368d" xsi:nil="true"/>
    <TaxCatchAll xmlns="1fcd92dd-7d74-4918-8c11-98baf3d8368d"/>
    <ARENA_DocumentSender xmlns="1fcd92dd-7d74-4918-8c11-98baf3d8368d" xsi:nil="true"/>
    <p8a47c7619634ae9930087b62d76e394 xmlns="1fcd92dd-7d74-4918-8c11-98baf3d8368d">
      <Terms xmlns="http://schemas.microsoft.com/office/infopath/2007/PartnerControls"/>
    </p8a47c7619634ae9930087b62d76e394>
    <NHO_DocumentProperty xmlns="1fcd92dd-7d74-4918-8c11-98baf3d8368d">Internt</NHO_DocumentProperty>
    <crms_nhonr xmlns="1fcd92dd-7d74-4918-8c11-98baf3d8368d" xsi:nil="true"/>
    <_dlc_DocId xmlns="1fcd92dd-7d74-4918-8c11-98baf3d8368d">ARENA-264-28824</_dlc_DocId>
    <_dlc_DocIdUrl xmlns="1fcd92dd-7d74-4918-8c11-98baf3d8368d">
      <Url>https://arenarom.nho.no/rom/eba/_layouts/DocIdRedir.aspx?ID=ARENA-264-28824</Url>
      <Description>ARENA-264-28824</Description>
    </_dlc_DocIdUrl>
  </documentManagement>
</p:properties>
</file>

<file path=customXml/item3.xml><?xml version="1.0" encoding="utf-8"?>
<?mso-contentType ?>
<SharedContentType xmlns="Microsoft.SharePoint.Taxonomy.ContentTypeSync" SourceId="cbd9e53e-6585-4f50-95a9-cc115a295e47" ContentTypeId="0x0101002703D2AF657F4CC69F3B5766777647D700D06115F784074B5E809F7B2D63EA2F2B00D451185C9E10459A8A9B6D7AA4724725" PreviousValue="true"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Presentasjon - ARENA-rom" ma:contentTypeID="0x0101002703D2AF657F4CC69F3B5766777647D700D06115F784074B5E809F7B2D63EA2F2B00D451185C9E10459A8A9B6D7AA47247250046A7C5E3CB6D0B43B6FAFDF9F9332843" ma:contentTypeVersion="55" ma:contentTypeDescription="Opprett et nytt dokument." ma:contentTypeScope="" ma:versionID="18370553de10c8c33f730a6f6cd05529">
  <xsd:schema xmlns:xsd="http://www.w3.org/2001/XMLSchema" xmlns:xs="http://www.w3.org/2001/XMLSchema" xmlns:p="http://schemas.microsoft.com/office/2006/metadata/properties" xmlns:ns2="1fcd92dd-7d74-4918-8c11-98baf3d8368d" targetNamespace="http://schemas.microsoft.com/office/2006/metadata/properties" ma:root="true" ma:fieldsID="9c15bbcb56425bd3cc1a212ff6603e5d" ns2:_="">
    <xsd:import namespace="1fcd92dd-7d74-4918-8c11-98baf3d8368d"/>
    <xsd:element name="properties">
      <xsd:complexType>
        <xsd:sequence>
          <xsd:element name="documentManagement">
            <xsd:complexType>
              <xsd:all>
                <xsd:element ref="ns2:NHO_DocumentStatus"/>
                <xsd:element ref="ns2:NHO_DocumentProperty"/>
                <xsd:element ref="ns2:NHO_DocumentDate" minOccurs="0"/>
                <xsd:element ref="ns2:NHO_DocumentArchiveDate" minOccurs="0"/>
                <xsd:element ref="ns2:ARENA_DocumentReference" minOccurs="0"/>
                <xsd:element ref="ns2:ARENA_DocumentRecipient" minOccurs="0"/>
                <xsd:element ref="ns2:ARENA_DocumentSender" minOccurs="0"/>
                <xsd:element ref="ns2:crms_nhonr" minOccurs="0"/>
                <xsd:element ref="ns2:_dlc_DocId" minOccurs="0"/>
                <xsd:element ref="ns2:_dlc_DocIdUrl" minOccurs="0"/>
                <xsd:element ref="ns2:_dlc_DocIdPersistId" minOccurs="0"/>
                <xsd:element ref="ns2:TaxCatchAll" minOccurs="0"/>
                <xsd:element ref="ns2:TaxCatchAllLabel" minOccurs="0"/>
                <xsd:element ref="ns2:c33924c3673147c88830f2707c1978bc" minOccurs="0"/>
                <xsd:element ref="ns2:p8a47c7619634ae9930087b62d76e394" minOccurs="0"/>
                <xsd:element ref="ns2:TaxKeywordTaxHTFiel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cd92dd-7d74-4918-8c11-98baf3d8368d" elementFormDefault="qualified">
    <xsd:import namespace="http://schemas.microsoft.com/office/2006/documentManagement/types"/>
    <xsd:import namespace="http://schemas.microsoft.com/office/infopath/2007/PartnerControls"/>
    <xsd:element name="NHO_DocumentStatus" ma:index="2" ma:displayName="Status" ma:default="Under behandling" ma:description="Status" ma:format="Dropdown" ma:internalName="NHO_DocumentStatus">
      <xsd:simpleType>
        <xsd:restriction base="dms:Choice">
          <xsd:enumeration value="Under behandling"/>
          <xsd:enumeration value="Til fordeling"/>
          <xsd:enumeration value="Arkivert"/>
        </xsd:restriction>
      </xsd:simpleType>
    </xsd:element>
    <xsd:element name="NHO_DocumentProperty" ma:index="3" ma:displayName="Inn/ut/internt" ma:default="Internt" ma:description="Inn/ut/internt" ma:format="Dropdown" ma:internalName="NHO_DocumentProperty">
      <xsd:simpleType>
        <xsd:restriction base="dms:Choice">
          <xsd:enumeration value="Internt"/>
          <xsd:enumeration value="Ut"/>
          <xsd:enumeration value="Inn"/>
        </xsd:restriction>
      </xsd:simpleType>
    </xsd:element>
    <xsd:element name="NHO_DocumentDate" ma:index="4" nillable="true" ma:displayName="Dokumentdato" ma:default="[today]" ma:description="Dokumentdato" ma:format="DateOnly" ma:internalName="NHO_DocumentDate" ma:readOnly="false">
      <xsd:simpleType>
        <xsd:restriction base="dms:DateTime"/>
      </xsd:simpleType>
    </xsd:element>
    <xsd:element name="NHO_DocumentArchiveDate" ma:index="5" nillable="true" ma:displayName="Arkivdato" ma:format="DateTime" ma:hidden="true" ma:internalName="NHO_DocumentArchiveDate">
      <xsd:simpleType>
        <xsd:restriction base="dms:DateTime"/>
      </xsd:simpleType>
    </xsd:element>
    <xsd:element name="ARENA_DocumentReference" ma:index="9" nillable="true" ma:displayName="Deres referanse" ma:description="Deres referanse" ma:internalName="ARENA_DocumentReference">
      <xsd:simpleType>
        <xsd:restriction base="dms:Text"/>
      </xsd:simpleType>
    </xsd:element>
    <xsd:element name="ARENA_DocumentRecipient" ma:index="10" nillable="true" ma:displayName="Mottaker" ma:description="Mottaker" ma:internalName="ARENA_DocumentRecipient">
      <xsd:simpleType>
        <xsd:restriction base="dms:Text"/>
      </xsd:simpleType>
    </xsd:element>
    <xsd:element name="ARENA_DocumentSender" ma:index="11" nillable="true" ma:displayName="Avsender" ma:description="Avsender" ma:internalName="ARENA_DocumentSender">
      <xsd:simpleType>
        <xsd:restriction base="dms:Text"/>
      </xsd:simpleType>
    </xsd:element>
    <xsd:element name="crms_nhonr" ma:index="12" nillable="true" ma:displayName="NHO NR" ma:internalName="crms_nhonr">
      <xsd:simpleType>
        <xsd:restriction base="dms:Text"/>
      </xsd:simpleType>
    </xsd:element>
    <xsd:element name="_dlc_DocId" ma:index="15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16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7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18" nillable="true" ma:displayName="Taxonomy Catch All Column" ma:hidden="true" ma:list="{aa4cd1ed-27a5-4a02-b49a-9ce2141a4d7e}" ma:internalName="TaxCatchAll" ma:showField="CatchAllData" ma:web="5a85ae50-92f0-4505-b4e0-b347f9975d6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9" nillable="true" ma:displayName="Taxonomy Catch All Column1" ma:hidden="true" ma:list="{aa4cd1ed-27a5-4a02-b49a-9ce2141a4d7e}" ma:internalName="TaxCatchAllLabel" ma:readOnly="true" ma:showField="CatchAllDataLabel" ma:web="5a85ae50-92f0-4505-b4e0-b347f9975d6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33924c3673147c88830f2707c1978bc" ma:index="21" nillable="true" ma:taxonomy="true" ma:internalName="c33924c3673147c88830f2707c1978bc" ma:taxonomyFieldName="NhoMmdCaseWorker" ma:displayName="Saksbehandler" ma:default="" ma:fieldId="{c33924c3-6731-47c8-8830-f2707c1978bc}" ma:sspId="23ae1762-dfb7-4954-b585-25db1d1094a4" ma:termSetId="bbd35930-3809-4f28-8ebd-605c947425f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8a47c7619634ae9930087b62d76e394" ma:index="23" nillable="true" ma:taxonomy="true" ma:internalName="p8a47c7619634ae9930087b62d76e394" ma:taxonomyFieldName="NHO_OrganisationUnit" ma:displayName="Organisasjonsenhet" ma:fieldId="{98a47c76-1963-4ae9-9300-87b62d76e394}" ma:sspId="23ae1762-dfb7-4954-b585-25db1d1094a4" ma:termSetId="110110fd-e430-4d4e-8550-74127a1a531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KeywordTaxHTField" ma:index="25" nillable="true" ma:taxonomy="true" ma:internalName="TaxKeywordTaxHTField" ma:taxonomyFieldName="TaxKeyword" ma:displayName="Organisasjonsnøkkelord" ma:fieldId="{23f27201-bee3-471e-b2e7-b64fd8b7ca38}" ma:taxonomyMulti="true" ma:sspId="23ae1762-dfb7-4954-b585-25db1d1094a4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2" ma:displayName="Innholdstype"/>
        <xsd:element ref="dc:title" minOccurs="0" maxOccurs="1" ma:index="1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B418A9F6-183E-4B74-B993-E57D147A0EE4}"/>
</file>

<file path=customXml/itemProps2.xml><?xml version="1.0" encoding="utf-8"?>
<ds:datastoreItem xmlns:ds="http://schemas.openxmlformats.org/officeDocument/2006/customXml" ds:itemID="{194EB59D-4974-4027-A6B5-84150A7F1547}"/>
</file>

<file path=customXml/itemProps3.xml><?xml version="1.0" encoding="utf-8"?>
<ds:datastoreItem xmlns:ds="http://schemas.openxmlformats.org/officeDocument/2006/customXml" ds:itemID="{B68FE4D8-03F7-4A74-9058-4F96A8FBBD49}"/>
</file>

<file path=customXml/itemProps4.xml><?xml version="1.0" encoding="utf-8"?>
<ds:datastoreItem xmlns:ds="http://schemas.openxmlformats.org/officeDocument/2006/customXml" ds:itemID="{4B2E00BC-96CD-409E-8AA4-B4DE92977C1C}"/>
</file>

<file path=customXml/itemProps5.xml><?xml version="1.0" encoding="utf-8"?>
<ds:datastoreItem xmlns:ds="http://schemas.openxmlformats.org/officeDocument/2006/customXml" ds:itemID="{37B453F1-72CD-45D2-9544-D8C7896C1D32}"/>
</file>

<file path=docProps/app.xml><?xml version="1.0" encoding="utf-8"?>
<Properties xmlns="http://schemas.openxmlformats.org/officeDocument/2006/extended-properties" xmlns:vt="http://schemas.openxmlformats.org/officeDocument/2006/docPropsVTypes">
  <Template>2_Beslutningsgrunnlag</Template>
  <TotalTime>823</TotalTime>
  <Words>96</Words>
  <Application>Microsoft Office PowerPoint</Application>
  <PresentationFormat>Skjermfremvisning (4:3)</PresentationFormat>
  <Paragraphs>12</Paragraphs>
  <Slides>2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</vt:i4>
      </vt:variant>
    </vt:vector>
  </HeadingPairs>
  <TitlesOfParts>
    <vt:vector size="6" baseType="lpstr">
      <vt:lpstr>Arial</vt:lpstr>
      <vt:lpstr>Calibri</vt:lpstr>
      <vt:lpstr>EBA_pptmal-v7</vt:lpstr>
      <vt:lpstr>think-cell Slide</vt:lpstr>
      <vt:lpstr>Et felles løft fra alle parter</vt:lpstr>
      <vt:lpstr>PowerPoint-presentasjon</vt:lpstr>
    </vt:vector>
  </TitlesOfParts>
  <Company>NHO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Kristin Sandvik</dc:creator>
  <cp:lastModifiedBy>Jørn Egil Tøien</cp:lastModifiedBy>
  <cp:revision>76</cp:revision>
  <cp:lastPrinted>2015-06-10T08:32:01Z</cp:lastPrinted>
  <dcterms:created xsi:type="dcterms:W3CDTF">2015-05-06T10:56:37Z</dcterms:created>
  <dcterms:modified xsi:type="dcterms:W3CDTF">2016-01-27T09:00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03D2AF657F4CC69F3B5766777647D700D06115F784074B5E809F7B2D63EA2F2B00D451185C9E10459A8A9B6D7AA47247250046A7C5E3CB6D0B43B6FAFDF9F9332843</vt:lpwstr>
  </property>
  <property fmtid="{D5CDD505-2E9C-101B-9397-08002B2CF9AE}" pid="3" name="TaxKeyword">
    <vt:lpwstr/>
  </property>
  <property fmtid="{D5CDD505-2E9C-101B-9397-08002B2CF9AE}" pid="4" name="NhoMmdCaseWorker">
    <vt:lpwstr>396;#Lene Jønsson|2a94d296-0649-4c01-8f7e-958221ddcd42</vt:lpwstr>
  </property>
  <property fmtid="{D5CDD505-2E9C-101B-9397-08002B2CF9AE}" pid="5" name="NHO_OrganisationUnit">
    <vt:lpwstr>677;#EBA|5d5ac971-3312-43c7-aa95-3571d2adbf74</vt:lpwstr>
  </property>
  <property fmtid="{D5CDD505-2E9C-101B-9397-08002B2CF9AE}" pid="6" name="_dlc_DocIdItemGuid">
    <vt:lpwstr>20af365a-351f-400c-9eea-00e5f4ba2362</vt:lpwstr>
  </property>
</Properties>
</file>